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6A1-43EB-B614-57B1425AFACA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1E-43B4-8733-C49606CB93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1E-43B4-8733-C49606CB93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1E-43B4-8733-C49606CB93E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1E-43B4-8733-C49606CB9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5253552"/>
        <c:axId val="1"/>
      </c:barChart>
      <c:catAx>
        <c:axId val="93525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6335">
            <a:solidFill>
              <a:schemeClr val="tx1"/>
            </a:solidFill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525355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2473420189350272"/>
          <c:y val="0.89999045166322611"/>
          <c:w val="0.35505677392361001"/>
          <c:h val="7.3368343901504193E-2"/>
        </c:manualLayout>
      </c:layout>
      <c:overlay val="0"/>
      <c:spPr>
        <a:noFill/>
        <a:ln w="2534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7F47A-F228-2F11-002E-A3CC410AF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5BCB12-8366-EF47-DA6D-A442FE6E5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5BCB12-8366-EF47-DA6D-A442FE6E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72B3A-3DEB-611E-81DF-22BC9A9A4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3424BFF-049E-1904-F9F3-7CA6AC21D37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6">
            <a:extLst>
              <a:ext uri="{FF2B5EF4-FFF2-40B4-BE49-F238E27FC236}">
                <a16:creationId xmlns:a16="http://schemas.microsoft.com/office/drawing/2014/main" id="{A32FD53C-7F24-F8F5-6551-31C505E1CBA5}"/>
              </a:ext>
            </a:extLst>
          </p:cNvPr>
          <p:cNvGraphicFramePr>
            <a:graphicFrameLocks/>
          </p:cNvGraphicFramePr>
          <p:nvPr/>
        </p:nvGraphicFramePr>
        <p:xfrm>
          <a:off x="419099" y="2609565"/>
          <a:ext cx="11233150" cy="371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08BD01-D46D-7565-3F21-DE6FED8406DD}"/>
              </a:ext>
            </a:extLst>
          </p:cNvPr>
          <p:cNvCxnSpPr/>
          <p:nvPr/>
        </p:nvCxnSpPr>
        <p:spPr>
          <a:xfrm flipV="1">
            <a:off x="1331723" y="1649128"/>
            <a:ext cx="0" cy="1831975"/>
          </a:xfrm>
          <a:prstGeom prst="line">
            <a:avLst/>
          </a:prstGeom>
          <a:ln w="3810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B0F56A23-477E-218B-75AB-5F2A6AF657F8}"/>
              </a:ext>
            </a:extLst>
          </p:cNvPr>
          <p:cNvSpPr/>
          <p:nvPr/>
        </p:nvSpPr>
        <p:spPr>
          <a:xfrm>
            <a:off x="828485" y="1271303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>
                <a:solidFill>
                  <a:schemeClr val="bg1"/>
                </a:solidFill>
              </a:rPr>
              <a:t>2020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EA0889-6FE4-A26C-50A6-1859BBD0EB50}"/>
              </a:ext>
            </a:extLst>
          </p:cNvPr>
          <p:cNvSpPr/>
          <p:nvPr/>
        </p:nvSpPr>
        <p:spPr>
          <a:xfrm>
            <a:off x="828485" y="2041240"/>
            <a:ext cx="965200" cy="5683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5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D09C53-CDA8-1EF5-42C9-4C766960204B}"/>
              </a:ext>
            </a:extLst>
          </p:cNvPr>
          <p:cNvCxnSpPr/>
          <p:nvPr/>
        </p:nvCxnSpPr>
        <p:spPr>
          <a:xfrm flipV="1">
            <a:off x="4506785" y="1585120"/>
            <a:ext cx="0" cy="1831975"/>
          </a:xfrm>
          <a:prstGeom prst="line">
            <a:avLst/>
          </a:prstGeom>
          <a:ln w="3810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673D0F0-58EF-E0DE-9A14-ED7B35603D3B}"/>
              </a:ext>
            </a:extLst>
          </p:cNvPr>
          <p:cNvSpPr/>
          <p:nvPr/>
        </p:nvSpPr>
        <p:spPr>
          <a:xfrm>
            <a:off x="4003548" y="1207295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1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1194A4-8DD8-633D-54F2-26F3FBED8E63}"/>
              </a:ext>
            </a:extLst>
          </p:cNvPr>
          <p:cNvSpPr/>
          <p:nvPr/>
        </p:nvSpPr>
        <p:spPr>
          <a:xfrm>
            <a:off x="4003548" y="1977232"/>
            <a:ext cx="965200" cy="56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6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056239-03E0-5DEB-4584-F31E60333564}"/>
              </a:ext>
            </a:extLst>
          </p:cNvPr>
          <p:cNvCxnSpPr/>
          <p:nvPr/>
        </p:nvCxnSpPr>
        <p:spPr>
          <a:xfrm flipV="1">
            <a:off x="7697280" y="1749712"/>
            <a:ext cx="0" cy="2338387"/>
          </a:xfrm>
          <a:prstGeom prst="line">
            <a:avLst/>
          </a:prstGeom>
          <a:ln w="381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E580B02F-51CF-4ED7-2CB7-A2160F066829}"/>
              </a:ext>
            </a:extLst>
          </p:cNvPr>
          <p:cNvSpPr/>
          <p:nvPr/>
        </p:nvSpPr>
        <p:spPr>
          <a:xfrm>
            <a:off x="7194043" y="1371887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2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F6BF9E-EBCC-BC72-F1B1-F0BF2E78BCB4}"/>
              </a:ext>
            </a:extLst>
          </p:cNvPr>
          <p:cNvSpPr/>
          <p:nvPr/>
        </p:nvSpPr>
        <p:spPr>
          <a:xfrm>
            <a:off x="7194043" y="2141824"/>
            <a:ext cx="965200" cy="568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70%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D8E01F5-4A9E-DCD9-8B39-DBDCF1847552}"/>
              </a:ext>
            </a:extLst>
          </p:cNvPr>
          <p:cNvCxnSpPr/>
          <p:nvPr/>
        </p:nvCxnSpPr>
        <p:spPr>
          <a:xfrm flipV="1">
            <a:off x="10900031" y="1612552"/>
            <a:ext cx="0" cy="2003425"/>
          </a:xfrm>
          <a:prstGeom prst="line">
            <a:avLst/>
          </a:prstGeom>
          <a:ln w="38100">
            <a:solidFill>
              <a:schemeClr val="accent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AEE34F97-0F06-D993-155A-03093324F489}"/>
              </a:ext>
            </a:extLst>
          </p:cNvPr>
          <p:cNvSpPr/>
          <p:nvPr/>
        </p:nvSpPr>
        <p:spPr>
          <a:xfrm>
            <a:off x="10398381" y="1234727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2023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087B6F-8814-A432-235F-55F49235FA4D}"/>
              </a:ext>
            </a:extLst>
          </p:cNvPr>
          <p:cNvSpPr/>
          <p:nvPr/>
        </p:nvSpPr>
        <p:spPr>
          <a:xfrm>
            <a:off x="10398381" y="2004664"/>
            <a:ext cx="965200" cy="568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chemeClr val="bg1"/>
                </a:solidFill>
              </a:rPr>
              <a:t>90%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02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9</TotalTime>
  <Words>1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4</cp:revision>
  <dcterms:created xsi:type="dcterms:W3CDTF">2021-03-31T02:49:57Z</dcterms:created>
  <dcterms:modified xsi:type="dcterms:W3CDTF">2025-10-16T10:50:33Z</dcterms:modified>
  <cp:category/>
</cp:coreProperties>
</file>